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4f2f47f0af58c6db2cd8d72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08B787C-DA80-4A98-9A93-DF9747D163C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4"/>
              <a:ext cx="3889375" cy="36659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Optimize your energy consumption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n-GB" dirty="0"/>
              <a:t>Electrical consumption measurement 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32023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fr-FR" sz="800" dirty="0">
                <a:solidFill>
                  <a:srgbClr val="000000"/>
                </a:solidFill>
              </a:rPr>
              <a:t>Efficiency, Cost optimisation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Blowers </a:t>
            </a:r>
            <a:r>
              <a:rPr lang="en-GB" altLang="fr-FR" sz="800" dirty="0">
                <a:solidFill>
                  <a:srgbClr val="000000"/>
                </a:solidFill>
              </a:rPr>
              <a:t>S2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dirty="0">
                <a:solidFill>
                  <a:srgbClr val="000000"/>
                </a:solidFill>
              </a:rPr>
              <a:t>913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878"/>
            <a:ext cx="3823487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Display the electrical consumption on the HMI home pag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Need a new version of the PLC / HMI software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69" y="2151878"/>
            <a:ext cx="3677612" cy="206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1">
              <a:spcBef>
                <a:spcPts val="300"/>
              </a:spcBef>
            </a:pPr>
            <a:r>
              <a:rPr lang="en-US" sz="1200" dirty="0">
                <a:solidFill>
                  <a:srgbClr val="000000"/>
                </a:solidFill>
              </a:rPr>
              <a:t> Allow to assess the impact of the blowing process recipe on the electricity consumption</a:t>
            </a:r>
          </a:p>
          <a:p>
            <a:pPr marL="0" lvl="1">
              <a:spcBef>
                <a:spcPts val="300"/>
              </a:spcBef>
            </a:pPr>
            <a:r>
              <a:rPr lang="en-US" sz="1200" dirty="0">
                <a:solidFill>
                  <a:srgbClr val="000000"/>
                </a:solidFill>
              </a:rPr>
              <a:t> Instantaneous and average electricity consumption can be monitored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6CBD06E-9A3E-4715-8B2F-4133C3DAD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584" y="3668930"/>
            <a:ext cx="1430870" cy="163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68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Optimize your energy consumptio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5</cp:revision>
  <dcterms:created xsi:type="dcterms:W3CDTF">2018-02-10T17:04:39Z</dcterms:created>
  <dcterms:modified xsi:type="dcterms:W3CDTF">2018-12-13T15:1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